
<file path=[Content_Types].xml><?xml version="1.0" encoding="utf-8"?>
<Types xmlns="http://schemas.openxmlformats.org/package/2006/content-types">
  <Default ContentType="application/vnd.openxmlformats-officedocument.oleObject" Extension="bin"/>
  <Default ContentType="image/png" Extension="png"/>
  <Default ContentType="image/x-emf" Extension="emf"/>
  <Default ContentType="image/jpeg" Extension="jpeg"/>
  <Default ContentType="application/vnd.openxmlformats-package.relationships+xml" Extension="rels"/>
  <Default ContentType="application/xml" Extension="xml"/>
  <Default ContentType="application/vnd.openxmlformats-officedocument.vmlDrawing" Extension="vml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Master+xml" PartName="/ppt/slideMasters/slideMaster5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notesMaster+xml" PartName="/ppt/notesMasters/notesMaster1.xml"/>
  <Override ContentType="application/vnd.openxmlformats-officedocument.presentationml.handoutMaster+xml" PartName="/ppt/handoutMasters/handoutMaster1.xml"/>
  <Override ContentType="application/vnd.openxmlformats-officedocument.presentationml.tags+xml" PartName="/ppt/tags/tag1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theme+xml" PartName="/ppt/theme/theme2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57.xml"/>
  <Override ContentType="application/vnd.openxmlformats-officedocument.presentationml.slideLayout+xml" PartName="/ppt/slideLayouts/slideLayout29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theme+xml" PartName="/ppt/theme/theme3.xml"/>
  <Override ContentType="application/vnd.openxmlformats-officedocument.presentationml.tags+xml" PartName="/ppt/tags/tag58.xml"/>
  <Override ContentType="application/vnd.openxmlformats-officedocument.presentationml.tags+xml" PartName="/ppt/tags/tag59.xml"/>
  <Override ContentType="application/vnd.openxmlformats-officedocument.presentationml.tags+xml" PartName="/ppt/tags/tag60.xml"/>
  <Override ContentType="application/vnd.openxmlformats-officedocument.presentationml.tags+xml" PartName="/ppt/tags/tag61.xml"/>
  <Override ContentType="application/vnd.openxmlformats-officedocument.presentationml.tags+xml" PartName="/ppt/tags/tag62.xml"/>
  <Override ContentType="application/vnd.openxmlformats-officedocument.presentationml.tags+xml" PartName="/ppt/tags/tag63.xml"/>
  <Override ContentType="application/vnd.openxmlformats-officedocument.presentationml.tags+xml" PartName="/ppt/tags/tag64.xml"/>
  <Override ContentType="application/vnd.openxmlformats-officedocument.presentationml.tags+xml" PartName="/ppt/tags/tag65.xml"/>
  <Override ContentType="application/vnd.openxmlformats-officedocument.presentationml.tags+xml" PartName="/ppt/tags/tag66.xml"/>
  <Override ContentType="application/vnd.openxmlformats-officedocument.presentationml.tags+xml" PartName="/ppt/tags/tag67.xml"/>
  <Override ContentType="application/vnd.openxmlformats-officedocument.presentationml.tags+xml" PartName="/ppt/tags/tag68.xml"/>
  <Override ContentType="application/vnd.openxmlformats-officedocument.presentationml.tags+xml" PartName="/ppt/tags/tag69.xml"/>
  <Override ContentType="application/vnd.openxmlformats-officedocument.presentationml.tags+xml" PartName="/ppt/tags/tag70.xml"/>
  <Override ContentType="application/vnd.openxmlformats-officedocument.presentationml.tags+xml" PartName="/ppt/tags/tag71.xml"/>
  <Override ContentType="application/vnd.openxmlformats-officedocument.presentationml.tags+xml" PartName="/ppt/tags/tag72.xml"/>
  <Override ContentType="application/vnd.openxmlformats-officedocument.presentationml.tags+xml" PartName="/ppt/tags/tag73.xml"/>
  <Override ContentType="application/vnd.openxmlformats-officedocument.presentationml.tags+xml" PartName="/ppt/tags/tag74.xml"/>
  <Override ContentType="application/vnd.openxmlformats-officedocument.presentationml.tags+xml" PartName="/ppt/tags/tag75.xml"/>
  <Override ContentType="application/vnd.openxmlformats-officedocument.presentationml.tags+xml" PartName="/ppt/tags/tag76.xml"/>
  <Override ContentType="application/vnd.openxmlformats-officedocument.presentationml.tags+xml" PartName="/ppt/tags/tag77.xml"/>
  <Override ContentType="application/vnd.openxmlformats-officedocument.presentationml.tags+xml" PartName="/ppt/tags/tag78.xml"/>
  <Override ContentType="application/vnd.openxmlformats-officedocument.presentationml.tags+xml" PartName="/ppt/tags/tag79.xml"/>
  <Override ContentType="application/vnd.openxmlformats-officedocument.presentationml.tags+xml" PartName="/ppt/tags/tag80.xml"/>
  <Override ContentType="application/vnd.openxmlformats-officedocument.presentationml.tags+xml" PartName="/ppt/tags/tag81.xml"/>
  <Override ContentType="application/vnd.openxmlformats-officedocument.presentationml.tags+xml" PartName="/ppt/tags/tag82.xml"/>
  <Override ContentType="application/vnd.openxmlformats-officedocument.presentationml.tags+xml" PartName="/ppt/tags/tag83.xml"/>
  <Override ContentType="application/vnd.openxmlformats-officedocument.presentationml.tags+xml" PartName="/ppt/tags/tag84.xml"/>
  <Override ContentType="application/vnd.openxmlformats-officedocument.presentationml.tags+xml" PartName="/ppt/tags/tag85.xml"/>
  <Override ContentType="application/vnd.openxmlformats-officedocument.presentationml.slideLayout+xml" PartName="/ppt/slideLayouts/slideLayout43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57.xml"/>
  <Override ContentType="application/vnd.openxmlformats-officedocument.theme+xml" PartName="/ppt/theme/theme4.xml"/>
  <Override ContentType="application/vnd.openxmlformats-officedocument.presentationml.tags+xml" PartName="/ppt/tags/tag86.xml"/>
  <Override ContentType="application/vnd.openxmlformats-officedocument.presentationml.tags+xml" PartName="/ppt/tags/tag87.xml"/>
  <Override ContentType="application/vnd.openxmlformats-officedocument.presentationml.tags+xml" PartName="/ppt/tags/tag88.xml"/>
  <Override ContentType="application/vnd.openxmlformats-officedocument.presentationml.tags+xml" PartName="/ppt/tags/tag89.xml"/>
  <Override ContentType="application/vnd.openxmlformats-officedocument.presentationml.tags+xml" PartName="/ppt/tags/tag90.xml"/>
  <Override ContentType="application/vnd.openxmlformats-officedocument.presentationml.tags+xml" PartName="/ppt/tags/tag91.xml"/>
  <Override ContentType="application/vnd.openxmlformats-officedocument.presentationml.tags+xml" PartName="/ppt/tags/tag92.xml"/>
  <Override ContentType="application/vnd.openxmlformats-officedocument.presentationml.tags+xml" PartName="/ppt/tags/tag93.xml"/>
  <Override ContentType="application/vnd.openxmlformats-officedocument.presentationml.tags+xml" PartName="/ppt/tags/tag94.xml"/>
  <Override ContentType="application/vnd.openxmlformats-officedocument.presentationml.tags+xml" PartName="/ppt/tags/tag95.xml"/>
  <Override ContentType="application/vnd.openxmlformats-officedocument.presentationml.tags+xml" PartName="/ppt/tags/tag96.xml"/>
  <Override ContentType="application/vnd.openxmlformats-officedocument.presentationml.tags+xml" PartName="/ppt/tags/tag97.xml"/>
  <Override ContentType="application/vnd.openxmlformats-officedocument.presentationml.tags+xml" PartName="/ppt/tags/tag98.xml"/>
  <Override ContentType="application/vnd.openxmlformats-officedocument.presentationml.tags+xml" PartName="/ppt/tags/tag99.xml"/>
  <Override ContentType="application/vnd.openxmlformats-officedocument.presentationml.tags+xml" PartName="/ppt/tags/tag100.xml"/>
  <Override ContentType="application/vnd.openxmlformats-officedocument.presentationml.tags+xml" PartName="/ppt/tags/tag101.xml"/>
  <Override ContentType="application/vnd.openxmlformats-officedocument.presentationml.tags+xml" PartName="/ppt/tags/tag102.xml"/>
  <Override ContentType="application/vnd.openxmlformats-officedocument.presentationml.tags+xml" PartName="/ppt/tags/tag103.xml"/>
  <Override ContentType="application/vnd.openxmlformats-officedocument.presentationml.tags+xml" PartName="/ppt/tags/tag104.xml"/>
  <Override ContentType="application/vnd.openxmlformats-officedocument.presentationml.tags+xml" PartName="/ppt/tags/tag105.xml"/>
  <Override ContentType="application/vnd.openxmlformats-officedocument.presentationml.tags+xml" PartName="/ppt/tags/tag106.xml"/>
  <Override ContentType="application/vnd.openxmlformats-officedocument.presentationml.tags+xml" PartName="/ppt/tags/tag107.xml"/>
  <Override ContentType="application/vnd.openxmlformats-officedocument.presentationml.tags+xml" PartName="/ppt/tags/tag108.xml"/>
  <Override ContentType="application/vnd.openxmlformats-officedocument.presentationml.tags+xml" PartName="/ppt/tags/tag109.xml"/>
  <Override ContentType="application/vnd.openxmlformats-officedocument.presentationml.tags+xml" PartName="/ppt/tags/tag110.xml"/>
  <Override ContentType="application/vnd.openxmlformats-officedocument.presentationml.tags+xml" PartName="/ppt/tags/tag111.xml"/>
  <Override ContentType="application/vnd.openxmlformats-officedocument.presentationml.tags+xml" PartName="/ppt/tags/tag112.xml"/>
  <Override ContentType="application/vnd.openxmlformats-officedocument.presentationml.tags+xml" PartName="/ppt/tags/tag113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69.xml"/>
  <Override ContentType="application/vnd.openxmlformats-officedocument.presentationml.slideLayout+xml" PartName="/ppt/slideLayouts/slideLayout70.xml"/>
  <Override ContentType="application/vnd.openxmlformats-officedocument.presentationml.slideLayout+xml" PartName="/ppt/slideLayouts/slideLayout71.xml"/>
  <Override ContentType="application/vnd.openxmlformats-officedocument.theme+xml" PartName="/ppt/theme/theme5.xml"/>
  <Override ContentType="application/vnd.openxmlformats-officedocument.presentationml.tags+xml" PartName="/ppt/tags/tag114.xml"/>
  <Override ContentType="application/vnd.openxmlformats-officedocument.presentationml.tags+xml" PartName="/ppt/tags/tag115.xml"/>
  <Override ContentType="application/vnd.openxmlformats-officedocument.presentationml.tags+xml" PartName="/ppt/tags/tag116.xml"/>
  <Override ContentType="application/vnd.openxmlformats-officedocument.presentationml.tags+xml" PartName="/ppt/tags/tag117.xml"/>
  <Override ContentType="application/vnd.openxmlformats-officedocument.presentationml.tags+xml" PartName="/ppt/tags/tag118.xml"/>
  <Override ContentType="application/vnd.openxmlformats-officedocument.presentationml.tags+xml" PartName="/ppt/tags/tag119.xml"/>
  <Override ContentType="application/vnd.openxmlformats-officedocument.presentationml.tags+xml" PartName="/ppt/tags/tag120.xml"/>
  <Override ContentType="application/vnd.openxmlformats-officedocument.presentationml.tags+xml" PartName="/ppt/tags/tag121.xml"/>
  <Override ContentType="application/vnd.openxmlformats-officedocument.presentationml.tags+xml" PartName="/ppt/tags/tag122.xml"/>
  <Override ContentType="application/vnd.openxmlformats-officedocument.presentationml.tags+xml" PartName="/ppt/tags/tag123.xml"/>
  <Override ContentType="application/vnd.openxmlformats-officedocument.presentationml.tags+xml" PartName="/ppt/tags/tag124.xml"/>
  <Override ContentType="application/vnd.openxmlformats-officedocument.presentationml.tags+xml" PartName="/ppt/tags/tag125.xml"/>
  <Override ContentType="application/vnd.openxmlformats-officedocument.presentationml.tags+xml" PartName="/ppt/tags/tag126.xml"/>
  <Override ContentType="application/vnd.openxmlformats-officedocument.presentationml.tags+xml" PartName="/ppt/tags/tag127.xml"/>
  <Override ContentType="application/vnd.openxmlformats-officedocument.presentationml.tags+xml" PartName="/ppt/tags/tag128.xml"/>
  <Override ContentType="application/vnd.openxmlformats-officedocument.presentationml.tags+xml" PartName="/ppt/tags/tag129.xml"/>
  <Override ContentType="application/vnd.openxmlformats-officedocument.presentationml.tags+xml" PartName="/ppt/tags/tag130.xml"/>
  <Override ContentType="application/vnd.openxmlformats-officedocument.presentationml.tags+xml" PartName="/ppt/tags/tag131.xml"/>
  <Override ContentType="application/vnd.openxmlformats-officedocument.presentationml.tags+xml" PartName="/ppt/tags/tag132.xml"/>
  <Override ContentType="application/vnd.openxmlformats-officedocument.presentationml.tags+xml" PartName="/ppt/tags/tag133.xml"/>
  <Override ContentType="application/vnd.openxmlformats-officedocument.presentationml.tags+xml" PartName="/ppt/tags/tag134.xml"/>
  <Override ContentType="application/vnd.openxmlformats-officedocument.presentationml.tags+xml" PartName="/ppt/tags/tag135.xml"/>
  <Override ContentType="application/vnd.openxmlformats-officedocument.presentationml.tags+xml" PartName="/ppt/tags/tag136.xml"/>
  <Override ContentType="application/vnd.openxmlformats-officedocument.presentationml.tags+xml" PartName="/ppt/tags/tag137.xml"/>
  <Override ContentType="application/vnd.openxmlformats-officedocument.presentationml.tags+xml" PartName="/ppt/tags/tag138.xml"/>
  <Override ContentType="application/vnd.openxmlformats-officedocument.presentationml.tags+xml" PartName="/ppt/tags/tag139.xml"/>
  <Override ContentType="application/vnd.openxmlformats-officedocument.presentationml.tags+xml" PartName="/ppt/tags/tag140.xml"/>
  <Override ContentType="application/vnd.openxmlformats-officedocument.presentationml.tags+xml" PartName="/ppt/tags/tag141.xml"/>
  <Override ContentType="application/vnd.openxmlformats-officedocument.theme+xml" PartName="/ppt/theme/theme6.xml"/>
  <Override ContentType="application/vnd.openxmlformats-officedocument.theme+xml" PartName="/ppt/theme/theme7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core.xml" Type="http://schemas.openxmlformats.org/package/2006/relationships/metadata/core-properties"/><Relationship Id="rId2" Target="docProps/thumbnail.jpeg" Type="http://schemas.openxmlformats.org/package/2006/relationships/metadata/thumbnail"/><Relationship Id="rId1" Target="ppt/presentation.xml" Type="http://schemas.openxmlformats.org/officeDocument/2006/relationships/officeDocument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768" r:id="rId2"/>
    <p:sldMasterId id="2147483783" r:id="rId3"/>
    <p:sldMasterId id="2147483798" r:id="rId4"/>
    <p:sldMasterId id="2147483813" r:id="rId5"/>
  </p:sldMasterIdLst>
  <p:notesMasterIdLst>
    <p:notesMasterId r:id="rId16"/>
  </p:notesMasterIdLst>
  <p:handoutMasterIdLst>
    <p:handoutMasterId r:id="rId17"/>
  </p:handoutMasterIdLst>
  <p:sldIdLst>
    <p:sldId id="844" r:id="rId6"/>
    <p:sldId id="840" r:id="rId7"/>
    <p:sldId id="841" r:id="rId8"/>
    <p:sldId id="842" r:id="rId9"/>
    <p:sldId id="843" r:id="rId10"/>
    <p:sldId id="845" r:id="rId11"/>
    <p:sldId id="846" r:id="rId12"/>
    <p:sldId id="847" r:id="rId13"/>
    <p:sldId id="848" r:id="rId14"/>
    <p:sldId id="849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622">
          <p15:clr>
            <a:srgbClr val="A4A3A4"/>
          </p15:clr>
        </p15:guide>
        <p15:guide id="2" orient="horz" pos="1025">
          <p15:clr>
            <a:srgbClr val="A4A3A4"/>
          </p15:clr>
        </p15:guide>
        <p15:guide id="3" orient="horz" pos="2985">
          <p15:clr>
            <a:srgbClr val="A4A3A4"/>
          </p15:clr>
        </p15:guide>
        <p15:guide id="4" orient="horz" pos="1679">
          <p15:clr>
            <a:srgbClr val="A4A3A4"/>
          </p15:clr>
        </p15:guide>
        <p15:guide id="5" orient="horz" pos="2341">
          <p15:clr>
            <a:srgbClr val="A4A3A4"/>
          </p15:clr>
        </p15:guide>
        <p15:guide id="6" pos="43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22"/>
    <a:srgbClr val="FCECE7"/>
    <a:srgbClr val="A9FB93"/>
    <a:srgbClr val="797600"/>
    <a:srgbClr val="FBFBFB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62" autoAdjust="0"/>
    <p:restoredTop sz="94651" autoAdjust="0"/>
  </p:normalViewPr>
  <p:slideViewPr>
    <p:cSldViewPr snapToGrid="0" showGuides="1">
      <p:cViewPr>
        <p:scale>
          <a:sx n="90" d="100"/>
          <a:sy n="90" d="100"/>
        </p:scale>
        <p:origin x="-786" y="-150"/>
      </p:cViewPr>
      <p:guideLst>
        <p:guide orient="horz" pos="3622"/>
        <p:guide orient="horz" pos="1025"/>
        <p:guide orient="horz" pos="2985"/>
        <p:guide orient="horz" pos="1679"/>
        <p:guide orient="horz" pos="2341"/>
        <p:guide pos="4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5.xml" Type="http://schemas.openxmlformats.org/officeDocument/2006/relationships/tags"/><Relationship Id="rId7" Target="../media/image3.jpeg" Type="http://schemas.openxmlformats.org/officeDocument/2006/relationships/image"/><Relationship Id="rId2" Target="../tags/tag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0.xml.rels><?xml version="1.0" encoding="UTF-8" standalone="yes" ?><Relationships xmlns="http://schemas.openxmlformats.org/package/2006/relationships"><Relationship Id="rId3" Target="../tags/tag21.xml" Type="http://schemas.openxmlformats.org/officeDocument/2006/relationships/tags"/><Relationship Id="rId2" Target="../tags/tag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1.xml.rels><?xml version="1.0" encoding="UTF-8" standalone="yes" ?><Relationships xmlns="http://schemas.openxmlformats.org/package/2006/relationships"><Relationship Id="rId3" Target="../tags/tag23.xml" Type="http://schemas.openxmlformats.org/officeDocument/2006/relationships/tags"/><Relationship Id="rId2" Target="../tags/tag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2.xml.rels><?xml version="1.0" encoding="UTF-8" standalone="yes" ?><Relationships xmlns="http://schemas.openxmlformats.org/package/2006/relationships"><Relationship Id="rId3" Target="../tags/tag25.xml" Type="http://schemas.openxmlformats.org/officeDocument/2006/relationships/tags"/><Relationship Id="rId2" Target="../tags/tag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3.xml.rels><?xml version="1.0" encoding="UTF-8" standalone="yes" ?><Relationships xmlns="http://schemas.openxmlformats.org/package/2006/relationships"><Relationship Id="rId3" Target="../tags/tag27.xml" Type="http://schemas.openxmlformats.org/officeDocument/2006/relationships/tags"/><Relationship Id="rId2" Target="../tags/tag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4.xml.rels><?xml version="1.0" encoding="UTF-8" standalone="yes" ?><Relationships xmlns="http://schemas.openxmlformats.org/package/2006/relationships"><Relationship Id="rId3" Target="../tags/tag29.xml" Type="http://schemas.openxmlformats.org/officeDocument/2006/relationships/tags"/><Relationship Id="rId2" Target="../tags/tag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5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33.xml" Type="http://schemas.openxmlformats.org/officeDocument/2006/relationships/tags"/><Relationship Id="rId7" Target="../media/image3.jpeg" Type="http://schemas.openxmlformats.org/officeDocument/2006/relationships/image"/><Relationship Id="rId2" Target="../tags/tag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6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4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7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5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8.xml.rels><?xml version="1.0" encoding="UTF-8" standalone="yes" ?><Relationships xmlns="http://schemas.openxmlformats.org/package/2006/relationships"><Relationship Id="rId3" Target="../tags/tag37.xml" Type="http://schemas.openxmlformats.org/officeDocument/2006/relationships/tags"/><Relationship Id="rId2" Target="../tags/tag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9.xml.rels><?xml version="1.0" encoding="UTF-8" standalone="yes" ?><Relationships xmlns="http://schemas.openxmlformats.org/package/2006/relationships"><Relationship Id="rId3" Target="../tags/tag39.xml" Type="http://schemas.openxmlformats.org/officeDocument/2006/relationships/tags"/><Relationship Id="rId2" Target="../tags/tag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6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20.xml.rels><?xml version="1.0" encoding="UTF-8" standalone="yes" ?><Relationships xmlns="http://schemas.openxmlformats.org/package/2006/relationships"><Relationship Id="rId3" Target="../tags/tag41.xml" Type="http://schemas.openxmlformats.org/officeDocument/2006/relationships/tags"/><Relationship Id="rId2" Target="../tags/tag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1.xml.rels><?xml version="1.0" encoding="UTF-8" standalone="yes" ?><Relationships xmlns="http://schemas.openxmlformats.org/package/2006/relationships"><Relationship Id="rId3" Target="../tags/tag43.xml" Type="http://schemas.openxmlformats.org/officeDocument/2006/relationships/tags"/><Relationship Id="rId2" Target="../tags/tag4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2.xml.rels><?xml version="1.0" encoding="UTF-8" standalone="yes" ?><Relationships xmlns="http://schemas.openxmlformats.org/package/2006/relationships"><Relationship Id="rId3" Target="../tags/tag45.xml" Type="http://schemas.openxmlformats.org/officeDocument/2006/relationships/tags"/><Relationship Id="rId2" Target="../tags/tag4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3.xml.rels><?xml version="1.0" encoding="UTF-8" standalone="yes" ?><Relationships xmlns="http://schemas.openxmlformats.org/package/2006/relationships"><Relationship Id="rId3" Target="../tags/tag47.xml" Type="http://schemas.openxmlformats.org/officeDocument/2006/relationships/tags"/><Relationship Id="rId2" Target="../tags/tag4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4.xml.rels><?xml version="1.0" encoding="UTF-8" standalone="yes" ?><Relationships xmlns="http://schemas.openxmlformats.org/package/2006/relationships"><Relationship Id="rId3" Target="../tags/tag49.xml" Type="http://schemas.openxmlformats.org/officeDocument/2006/relationships/tags"/><Relationship Id="rId2" Target="../tags/tag4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5.xml.rels><?xml version="1.0" encoding="UTF-8" standalone="yes" ?><Relationships xmlns="http://schemas.openxmlformats.org/package/2006/relationships"><Relationship Id="rId3" Target="../tags/tag51.xml" Type="http://schemas.openxmlformats.org/officeDocument/2006/relationships/tags"/><Relationship Id="rId2" Target="../tags/tag5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6.xml.rels><?xml version="1.0" encoding="UTF-8" standalone="yes" ?><Relationships xmlns="http://schemas.openxmlformats.org/package/2006/relationships"><Relationship Id="rId3" Target="../tags/tag53.xml" Type="http://schemas.openxmlformats.org/officeDocument/2006/relationships/tags"/><Relationship Id="rId2" Target="../tags/tag5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7.xml.rels><?xml version="1.0" encoding="UTF-8" standalone="yes" ?><Relationships xmlns="http://schemas.openxmlformats.org/package/2006/relationships"><Relationship Id="rId3" Target="../tags/tag55.xml" Type="http://schemas.openxmlformats.org/officeDocument/2006/relationships/tags"/><Relationship Id="rId2" Target="../tags/tag5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8.xml.rels><?xml version="1.0" encoding="UTF-8" standalone="yes" ?><Relationships xmlns="http://schemas.openxmlformats.org/package/2006/relationships"><Relationship Id="rId3" Target="../tags/tag57.xml" Type="http://schemas.openxmlformats.org/officeDocument/2006/relationships/tags"/><Relationship Id="rId2" Target="../tags/tag5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9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61.xml" Type="http://schemas.openxmlformats.org/officeDocument/2006/relationships/tags"/><Relationship Id="rId7" Target="../media/image3.jpeg" Type="http://schemas.openxmlformats.org/officeDocument/2006/relationships/image"/><Relationship Id="rId2" Target="../tags/tag6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7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0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2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1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3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2.xml.rels><?xml version="1.0" encoding="UTF-8" standalone="yes" ?><Relationships xmlns="http://schemas.openxmlformats.org/package/2006/relationships"><Relationship Id="rId3" Target="../tags/tag65.xml" Type="http://schemas.openxmlformats.org/officeDocument/2006/relationships/tags"/><Relationship Id="rId2" Target="../tags/tag6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3.xml.rels><?xml version="1.0" encoding="UTF-8" standalone="yes" ?><Relationships xmlns="http://schemas.openxmlformats.org/package/2006/relationships"><Relationship Id="rId3" Target="../tags/tag67.xml" Type="http://schemas.openxmlformats.org/officeDocument/2006/relationships/tags"/><Relationship Id="rId2" Target="../tags/tag6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4.xml.rels><?xml version="1.0" encoding="UTF-8" standalone="yes" ?><Relationships xmlns="http://schemas.openxmlformats.org/package/2006/relationships"><Relationship Id="rId3" Target="../tags/tag69.xml" Type="http://schemas.openxmlformats.org/officeDocument/2006/relationships/tags"/><Relationship Id="rId2" Target="../tags/tag6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5.xml.rels><?xml version="1.0" encoding="UTF-8" standalone="yes" ?><Relationships xmlns="http://schemas.openxmlformats.org/package/2006/relationships"><Relationship Id="rId3" Target="../tags/tag71.xml" Type="http://schemas.openxmlformats.org/officeDocument/2006/relationships/tags"/><Relationship Id="rId2" Target="../tags/tag7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6.xml.rels><?xml version="1.0" encoding="UTF-8" standalone="yes" ?><Relationships xmlns="http://schemas.openxmlformats.org/package/2006/relationships"><Relationship Id="rId3" Target="../tags/tag73.xml" Type="http://schemas.openxmlformats.org/officeDocument/2006/relationships/tags"/><Relationship Id="rId2" Target="../tags/tag7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7.xml.rels><?xml version="1.0" encoding="UTF-8" standalone="yes" ?><Relationships xmlns="http://schemas.openxmlformats.org/package/2006/relationships"><Relationship Id="rId3" Target="../tags/tag75.xml" Type="http://schemas.openxmlformats.org/officeDocument/2006/relationships/tags"/><Relationship Id="rId2" Target="../tags/tag7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8.xml.rels><?xml version="1.0" encoding="UTF-8" standalone="yes" ?><Relationships xmlns="http://schemas.openxmlformats.org/package/2006/relationships"><Relationship Id="rId3" Target="../tags/tag77.xml" Type="http://schemas.openxmlformats.org/officeDocument/2006/relationships/tags"/><Relationship Id="rId2" Target="../tags/tag7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9.xml.rels><?xml version="1.0" encoding="UTF-8" standalone="yes" ?><Relationships xmlns="http://schemas.openxmlformats.org/package/2006/relationships"><Relationship Id="rId3" Target="../tags/tag79.xml" Type="http://schemas.openxmlformats.org/officeDocument/2006/relationships/tags"/><Relationship Id="rId2" Target="../tags/tag7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.xml.rels><?xml version="1.0" encoding="UTF-8" standalone="yes" ?><Relationships xmlns="http://schemas.openxmlformats.org/package/2006/relationships"><Relationship Id="rId3" Target="../tags/tag9.xml" Type="http://schemas.openxmlformats.org/officeDocument/2006/relationships/tags"/><Relationship Id="rId2" Target="../tags/tag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40.xml.rels><?xml version="1.0" encoding="UTF-8" standalone="yes" ?><Relationships xmlns="http://schemas.openxmlformats.org/package/2006/relationships"><Relationship Id="rId3" Target="../tags/tag81.xml" Type="http://schemas.openxmlformats.org/officeDocument/2006/relationships/tags"/><Relationship Id="rId2" Target="../tags/tag8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1.xml.rels><?xml version="1.0" encoding="UTF-8" standalone="yes" ?><Relationships xmlns="http://schemas.openxmlformats.org/package/2006/relationships"><Relationship Id="rId3" Target="../tags/tag83.xml" Type="http://schemas.openxmlformats.org/officeDocument/2006/relationships/tags"/><Relationship Id="rId2" Target="../tags/tag8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2.xml.rels><?xml version="1.0" encoding="UTF-8" standalone="yes" ?><Relationships xmlns="http://schemas.openxmlformats.org/package/2006/relationships"><Relationship Id="rId3" Target="../tags/tag85.xml" Type="http://schemas.openxmlformats.org/officeDocument/2006/relationships/tags"/><Relationship Id="rId2" Target="../tags/tag8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3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89.xml" Type="http://schemas.openxmlformats.org/officeDocument/2006/relationships/tags"/><Relationship Id="rId7" Target="../media/image3.jpeg" Type="http://schemas.openxmlformats.org/officeDocument/2006/relationships/image"/><Relationship Id="rId2" Target="../tags/tag8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4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0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5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1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6.xml.rels><?xml version="1.0" encoding="UTF-8" standalone="yes" ?><Relationships xmlns="http://schemas.openxmlformats.org/package/2006/relationships"><Relationship Id="rId3" Target="../tags/tag93.xml" Type="http://schemas.openxmlformats.org/officeDocument/2006/relationships/tags"/><Relationship Id="rId2" Target="../tags/tag9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7.xml.rels><?xml version="1.0" encoding="UTF-8" standalone="yes" ?><Relationships xmlns="http://schemas.openxmlformats.org/package/2006/relationships"><Relationship Id="rId3" Target="../tags/tag95.xml" Type="http://schemas.openxmlformats.org/officeDocument/2006/relationships/tags"/><Relationship Id="rId2" Target="../tags/tag9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8.xml.rels><?xml version="1.0" encoding="UTF-8" standalone="yes" ?><Relationships xmlns="http://schemas.openxmlformats.org/package/2006/relationships"><Relationship Id="rId3" Target="../tags/tag97.xml" Type="http://schemas.openxmlformats.org/officeDocument/2006/relationships/tags"/><Relationship Id="rId2" Target="../tags/tag9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9.xml.rels><?xml version="1.0" encoding="UTF-8" standalone="yes" ?><Relationships xmlns="http://schemas.openxmlformats.org/package/2006/relationships"><Relationship Id="rId3" Target="../tags/tag99.xml" Type="http://schemas.openxmlformats.org/officeDocument/2006/relationships/tags"/><Relationship Id="rId2" Target="../tags/tag9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.xml.rels><?xml version="1.0" encoding="UTF-8" standalone="yes" ?><Relationships xmlns="http://schemas.openxmlformats.org/package/2006/relationships"><Relationship Id="rId3" Target="../tags/tag11.xml" Type="http://schemas.openxmlformats.org/officeDocument/2006/relationships/tags"/><Relationship Id="rId2" Target="../tags/tag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50.xml.rels><?xml version="1.0" encoding="UTF-8" standalone="yes" ?><Relationships xmlns="http://schemas.openxmlformats.org/package/2006/relationships"><Relationship Id="rId3" Target="../tags/tag101.xml" Type="http://schemas.openxmlformats.org/officeDocument/2006/relationships/tags"/><Relationship Id="rId2" Target="../tags/tag10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1.xml.rels><?xml version="1.0" encoding="UTF-8" standalone="yes" ?><Relationships xmlns="http://schemas.openxmlformats.org/package/2006/relationships"><Relationship Id="rId3" Target="../tags/tag103.xml" Type="http://schemas.openxmlformats.org/officeDocument/2006/relationships/tags"/><Relationship Id="rId2" Target="../tags/tag10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2.xml.rels><?xml version="1.0" encoding="UTF-8" standalone="yes" ?><Relationships xmlns="http://schemas.openxmlformats.org/package/2006/relationships"><Relationship Id="rId3" Target="../tags/tag105.xml" Type="http://schemas.openxmlformats.org/officeDocument/2006/relationships/tags"/><Relationship Id="rId2" Target="../tags/tag10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3.xml.rels><?xml version="1.0" encoding="UTF-8" standalone="yes" ?><Relationships xmlns="http://schemas.openxmlformats.org/package/2006/relationships"><Relationship Id="rId3" Target="../tags/tag107.xml" Type="http://schemas.openxmlformats.org/officeDocument/2006/relationships/tags"/><Relationship Id="rId2" Target="../tags/tag10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4.xml.rels><?xml version="1.0" encoding="UTF-8" standalone="yes" ?><Relationships xmlns="http://schemas.openxmlformats.org/package/2006/relationships"><Relationship Id="rId3" Target="../tags/tag109.xml" Type="http://schemas.openxmlformats.org/officeDocument/2006/relationships/tags"/><Relationship Id="rId2" Target="../tags/tag10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5.xml.rels><?xml version="1.0" encoding="UTF-8" standalone="yes" ?><Relationships xmlns="http://schemas.openxmlformats.org/package/2006/relationships"><Relationship Id="rId3" Target="../tags/tag111.xml" Type="http://schemas.openxmlformats.org/officeDocument/2006/relationships/tags"/><Relationship Id="rId2" Target="../tags/tag1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6.xml.rels><?xml version="1.0" encoding="UTF-8" standalone="yes" ?><Relationships xmlns="http://schemas.openxmlformats.org/package/2006/relationships"><Relationship Id="rId3" Target="../tags/tag113.xml" Type="http://schemas.openxmlformats.org/officeDocument/2006/relationships/tags"/><Relationship Id="rId2" Target="../tags/tag1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117.xml" Type="http://schemas.openxmlformats.org/officeDocument/2006/relationships/tags"/><Relationship Id="rId7" Target="../media/image3.jpeg" Type="http://schemas.openxmlformats.org/officeDocument/2006/relationships/image"/><Relationship Id="rId2" Target="../tags/tag1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59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8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.xml.rels><?xml version="1.0" encoding="UTF-8" standalone="yes" ?><Relationships xmlns="http://schemas.openxmlformats.org/package/2006/relationships"><Relationship Id="rId3" Target="../tags/tag13.xml" Type="http://schemas.openxmlformats.org/officeDocument/2006/relationships/tags"/><Relationship Id="rId2" Target="../tags/tag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60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9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1.xml.rels><?xml version="1.0" encoding="UTF-8" standalone="yes" ?><Relationships xmlns="http://schemas.openxmlformats.org/package/2006/relationships"><Relationship Id="rId3" Target="../tags/tag121.xml" Type="http://schemas.openxmlformats.org/officeDocument/2006/relationships/tags"/><Relationship Id="rId2" Target="../tags/tag1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2.xml.rels><?xml version="1.0" encoding="UTF-8" standalone="yes" ?><Relationships xmlns="http://schemas.openxmlformats.org/package/2006/relationships"><Relationship Id="rId3" Target="../tags/tag123.xml" Type="http://schemas.openxmlformats.org/officeDocument/2006/relationships/tags"/><Relationship Id="rId2" Target="../tags/tag1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3.xml.rels><?xml version="1.0" encoding="UTF-8" standalone="yes" ?><Relationships xmlns="http://schemas.openxmlformats.org/package/2006/relationships"><Relationship Id="rId3" Target="../tags/tag125.xml" Type="http://schemas.openxmlformats.org/officeDocument/2006/relationships/tags"/><Relationship Id="rId2" Target="../tags/tag1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4.xml.rels><?xml version="1.0" encoding="UTF-8" standalone="yes" ?><Relationships xmlns="http://schemas.openxmlformats.org/package/2006/relationships"><Relationship Id="rId3" Target="../tags/tag127.xml" Type="http://schemas.openxmlformats.org/officeDocument/2006/relationships/tags"/><Relationship Id="rId2" Target="../tags/tag1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5.xml.rels><?xml version="1.0" encoding="UTF-8" standalone="yes" ?><Relationships xmlns="http://schemas.openxmlformats.org/package/2006/relationships"><Relationship Id="rId3" Target="../tags/tag129.xml" Type="http://schemas.openxmlformats.org/officeDocument/2006/relationships/tags"/><Relationship Id="rId2" Target="../tags/tag1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6.xml.rels><?xml version="1.0" encoding="UTF-8" standalone="yes" ?><Relationships xmlns="http://schemas.openxmlformats.org/package/2006/relationships"><Relationship Id="rId3" Target="../tags/tag131.xml" Type="http://schemas.openxmlformats.org/officeDocument/2006/relationships/tags"/><Relationship Id="rId2" Target="../tags/tag13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7.xml.rels><?xml version="1.0" encoding="UTF-8" standalone="yes" ?><Relationships xmlns="http://schemas.openxmlformats.org/package/2006/relationships"><Relationship Id="rId3" Target="../tags/tag133.xml" Type="http://schemas.openxmlformats.org/officeDocument/2006/relationships/tags"/><Relationship Id="rId2" Target="../tags/tag1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8.xml.rels><?xml version="1.0" encoding="UTF-8" standalone="yes" ?><Relationships xmlns="http://schemas.openxmlformats.org/package/2006/relationships"><Relationship Id="rId3" Target="../tags/tag135.xml" Type="http://schemas.openxmlformats.org/officeDocument/2006/relationships/tags"/><Relationship Id="rId2" Target="../tags/tag13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9.xml.rels><?xml version="1.0" encoding="UTF-8" standalone="yes" ?><Relationships xmlns="http://schemas.openxmlformats.org/package/2006/relationships"><Relationship Id="rId3" Target="../tags/tag137.xml" Type="http://schemas.openxmlformats.org/officeDocument/2006/relationships/tags"/><Relationship Id="rId2" Target="../tags/tag1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.xml.rels><?xml version="1.0" encoding="UTF-8" standalone="yes" ?><Relationships xmlns="http://schemas.openxmlformats.org/package/2006/relationships"><Relationship Id="rId3" Target="../tags/tag15.xml" Type="http://schemas.openxmlformats.org/officeDocument/2006/relationships/tags"/><Relationship Id="rId2" Target="../tags/tag1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70.xml.rels><?xml version="1.0" encoding="UTF-8" standalone="yes" ?><Relationships xmlns="http://schemas.openxmlformats.org/package/2006/relationships"><Relationship Id="rId3" Target="../tags/tag139.xml" Type="http://schemas.openxmlformats.org/officeDocument/2006/relationships/tags"/><Relationship Id="rId2" Target="../tags/tag1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1.xml.rels><?xml version="1.0" encoding="UTF-8" standalone="yes" ?><Relationships xmlns="http://schemas.openxmlformats.org/package/2006/relationships"><Relationship Id="rId3" Target="../tags/tag141.xml" Type="http://schemas.openxmlformats.org/officeDocument/2006/relationships/tags"/><Relationship Id="rId2" Target="../tags/tag1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8.xml.rels><?xml version="1.0" encoding="UTF-8" standalone="yes" ?><Relationships xmlns="http://schemas.openxmlformats.org/package/2006/relationships"><Relationship Id="rId3" Target="../tags/tag17.xml" Type="http://schemas.openxmlformats.org/officeDocument/2006/relationships/tags"/><Relationship Id="rId2" Target="../tags/tag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9.xml.rels><?xml version="1.0" encoding="UTF-8" standalone="yes" ?><Relationships xmlns="http://schemas.openxmlformats.org/package/2006/relationships"><Relationship Id="rId3" Target="../tags/tag19.xml" Type="http://schemas.openxmlformats.org/officeDocument/2006/relationships/tags"/><Relationship Id="rId2" Target="../tags/tag1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slideLayout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 eaLnBrk="1" indent="0" lvl="0" marL="0"/>
            <a:endParaRPr b="0" baseline="0" dirty="0" i="0" lang="en-US" sz="1800">
              <a:solidFill>
                <a:schemeClr val="tx1"/>
              </a:solidFill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42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783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780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5410897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614335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3158110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51747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68289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422460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305024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203212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327317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940516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2870710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172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208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650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468483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2002385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33456763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1223853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8279665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285482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93439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595099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364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9698431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8497824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113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19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358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8276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873447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14534081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50360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244467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68482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01566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191129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6055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453213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8123400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CA3F0-3C44-476E-94BB-ACB15BB674DC}" type="datetimeFigureOut">
              <a:rPr lang="ru-RU"/>
              <a:pPr>
                <a:defRPr/>
              </a:pPr>
              <a:t>02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8A4AAF-BF80-499C-B392-4C9781EE226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99758485"/>
      </p:ext>
    </p:extLst>
  </p:cSld>
  <p:clrMapOvr>
    <a:masterClrMapping/>
  </p:clrMapOvr>
</p:sldLayout>
</file>

<file path=ppt/slideLayouts/slideLayout5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98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1743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268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2057004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467310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864395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49529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101650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123823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900797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9069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917462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5359741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538522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13" Target="../slideLayouts/slideLayout13.xml" Type="http://schemas.openxmlformats.org/officeDocument/2006/relationships/slideLayout"/><Relationship Id="rId18" Target="../tags/tag3.xml" Type="http://schemas.openxmlformats.org/officeDocument/2006/relationships/tags"/><Relationship Id="rId3" Target="../slideLayouts/slideLayout3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7.xml" Type="http://schemas.openxmlformats.org/officeDocument/2006/relationships/slideLayout"/><Relationship Id="rId12" Target="../slideLayouts/slideLayout12.xml" Type="http://schemas.openxmlformats.org/officeDocument/2006/relationships/slideLayout"/><Relationship Id="rId17" Target="../tags/tag2.xml" Type="http://schemas.openxmlformats.org/officeDocument/2006/relationships/tags"/><Relationship Id="rId2" Target="../slideLayouts/slideLayout2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5" Target="../slideLayouts/slideLayout5.xml" Type="http://schemas.openxmlformats.org/officeDocument/2006/relationships/slideLayout"/><Relationship Id="rId15" Target="../theme/theme1.xml" Type="http://schemas.openxmlformats.org/officeDocument/2006/relationships/theme"/><Relationship Id="rId10" Target="../slideLayouts/slideLayout10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slideLayouts/slideLayout14.xml" Type="http://schemas.openxmlformats.org/officeDocument/2006/relationships/slideLayout"/></Relationships>
</file>

<file path=ppt/slideMasters/_rels/slideMaster2.xml.rels><?xml version="1.0" encoding="UTF-8" standalone="yes" ?><Relationships xmlns="http://schemas.openxmlformats.org/package/2006/relationships"><Relationship Id="rId8" Target="../slideLayouts/slideLayout22.xml" Type="http://schemas.openxmlformats.org/officeDocument/2006/relationships/slideLayout"/><Relationship Id="rId13" Target="../slideLayouts/slideLayout27.xml" Type="http://schemas.openxmlformats.org/officeDocument/2006/relationships/slideLayout"/><Relationship Id="rId18" Target="../tags/tag31.xml" Type="http://schemas.openxmlformats.org/officeDocument/2006/relationships/tags"/><Relationship Id="rId3" Target="../slideLayouts/slideLayout17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21.xml" Type="http://schemas.openxmlformats.org/officeDocument/2006/relationships/slideLayout"/><Relationship Id="rId12" Target="../slideLayouts/slideLayout26.xml" Type="http://schemas.openxmlformats.org/officeDocument/2006/relationships/slideLayout"/><Relationship Id="rId17" Target="../tags/tag30.xml" Type="http://schemas.openxmlformats.org/officeDocument/2006/relationships/tags"/><Relationship Id="rId2" Target="../slideLayouts/slideLayout16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5.xml" Type="http://schemas.openxmlformats.org/officeDocument/2006/relationships/slideLayout"/><Relationship Id="rId6" Target="../slideLayouts/slideLayout20.xml" Type="http://schemas.openxmlformats.org/officeDocument/2006/relationships/slideLayout"/><Relationship Id="rId11" Target="../slideLayouts/slideLayout25.xml" Type="http://schemas.openxmlformats.org/officeDocument/2006/relationships/slideLayout"/><Relationship Id="rId5" Target="../slideLayouts/slideLayout19.xml" Type="http://schemas.openxmlformats.org/officeDocument/2006/relationships/slideLayout"/><Relationship Id="rId15" Target="../theme/theme2.xml" Type="http://schemas.openxmlformats.org/officeDocument/2006/relationships/theme"/><Relationship Id="rId10" Target="../slideLayouts/slideLayout24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18.xml" Type="http://schemas.openxmlformats.org/officeDocument/2006/relationships/slideLayout"/><Relationship Id="rId9" Target="../slideLayouts/slideLayout23.xml" Type="http://schemas.openxmlformats.org/officeDocument/2006/relationships/slideLayout"/><Relationship Id="rId14" Target="../slideLayouts/slideLayout28.xml" Type="http://schemas.openxmlformats.org/officeDocument/2006/relationships/slideLayout"/></Relationships>
</file>

<file path=ppt/slideMasters/_rels/slideMaster3.xml.rels><?xml version="1.0" encoding="UTF-8" standalone="yes" ?><Relationships xmlns="http://schemas.openxmlformats.org/package/2006/relationships"><Relationship Id="rId8" Target="../slideLayouts/slideLayout36.xml" Type="http://schemas.openxmlformats.org/officeDocument/2006/relationships/slideLayout"/><Relationship Id="rId13" Target="../slideLayouts/slideLayout41.xml" Type="http://schemas.openxmlformats.org/officeDocument/2006/relationships/slideLayout"/><Relationship Id="rId18" Target="../tags/tag59.xml" Type="http://schemas.openxmlformats.org/officeDocument/2006/relationships/tags"/><Relationship Id="rId3" Target="../slideLayouts/slideLayout31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35.xml" Type="http://schemas.openxmlformats.org/officeDocument/2006/relationships/slideLayout"/><Relationship Id="rId12" Target="../slideLayouts/slideLayout40.xml" Type="http://schemas.openxmlformats.org/officeDocument/2006/relationships/slideLayout"/><Relationship Id="rId17" Target="../tags/tag58.xml" Type="http://schemas.openxmlformats.org/officeDocument/2006/relationships/tags"/><Relationship Id="rId2" Target="../slideLayouts/slideLayout30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29.xml" Type="http://schemas.openxmlformats.org/officeDocument/2006/relationships/slideLayout"/><Relationship Id="rId6" Target="../slideLayouts/slideLayout34.xml" Type="http://schemas.openxmlformats.org/officeDocument/2006/relationships/slideLayout"/><Relationship Id="rId11" Target="../slideLayouts/slideLayout39.xml" Type="http://schemas.openxmlformats.org/officeDocument/2006/relationships/slideLayout"/><Relationship Id="rId5" Target="../slideLayouts/slideLayout33.xml" Type="http://schemas.openxmlformats.org/officeDocument/2006/relationships/slideLayout"/><Relationship Id="rId15" Target="../theme/theme3.xml" Type="http://schemas.openxmlformats.org/officeDocument/2006/relationships/theme"/><Relationship Id="rId10" Target="../slideLayouts/slideLayout38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32.xml" Type="http://schemas.openxmlformats.org/officeDocument/2006/relationships/slideLayout"/><Relationship Id="rId9" Target="../slideLayouts/slideLayout37.xml" Type="http://schemas.openxmlformats.org/officeDocument/2006/relationships/slideLayout"/><Relationship Id="rId14" Target="../slideLayouts/slideLayout42.xml" Type="http://schemas.openxmlformats.org/officeDocument/2006/relationships/slideLayout"/></Relationships>
</file>

<file path=ppt/slideMasters/_rels/slideMaster4.xml.rels><?xml version="1.0" encoding="UTF-8" standalone="yes" ?><Relationships xmlns="http://schemas.openxmlformats.org/package/2006/relationships"><Relationship Id="rId8" Target="../slideLayouts/slideLayout50.xml" Type="http://schemas.openxmlformats.org/officeDocument/2006/relationships/slideLayout"/><Relationship Id="rId13" Target="../slideLayouts/slideLayout55.xml" Type="http://schemas.openxmlformats.org/officeDocument/2006/relationships/slideLayout"/><Relationship Id="rId18" Target="../tags/tag86.xml" Type="http://schemas.openxmlformats.org/officeDocument/2006/relationships/tags"/><Relationship Id="rId3" Target="../slideLayouts/slideLayout45.xml" Type="http://schemas.openxmlformats.org/officeDocument/2006/relationships/slideLayout"/><Relationship Id="rId21" Target="../media/image1.emf" Type="http://schemas.openxmlformats.org/officeDocument/2006/relationships/image"/><Relationship Id="rId7" Target="../slideLayouts/slideLayout49.xml" Type="http://schemas.openxmlformats.org/officeDocument/2006/relationships/slideLayout"/><Relationship Id="rId12" Target="../slideLayouts/slideLayout54.xml" Type="http://schemas.openxmlformats.org/officeDocument/2006/relationships/slideLayout"/><Relationship Id="rId2" Target="../slideLayouts/slideLayout44.xml" Type="http://schemas.openxmlformats.org/officeDocument/2006/relationships/slideLayout"/><Relationship Id="rId16" Target="../theme/theme4.xml" Type="http://schemas.openxmlformats.org/officeDocument/2006/relationships/theme"/><Relationship Id="rId20" Target="../media/image1.emf" Type="http://schemas.openxmlformats.org/officeDocument/2006/relationships/image"/><Relationship Id="rId1" Target="../slideLayouts/slideLayout43.xml" Type="http://schemas.openxmlformats.org/officeDocument/2006/relationships/slideLayout"/><Relationship Id="rId6" Target="../slideLayouts/slideLayout48.xml" Type="http://schemas.openxmlformats.org/officeDocument/2006/relationships/slideLayout"/><Relationship Id="rId11" Target="../slideLayouts/slideLayout53.xml" Type="http://schemas.openxmlformats.org/officeDocument/2006/relationships/slideLayout"/><Relationship Id="rId5" Target="../slideLayouts/slideLayout47.xml" Type="http://schemas.openxmlformats.org/officeDocument/2006/relationships/slideLayout"/><Relationship Id="rId15" Target="../slideLayouts/slideLayout57.xml" Type="http://schemas.openxmlformats.org/officeDocument/2006/relationships/slideLayout"/><Relationship Id="rId10" Target="../slideLayouts/slideLayout52.xml" Type="http://schemas.openxmlformats.org/officeDocument/2006/relationships/slideLayout"/><Relationship Id="rId19" Target="../tags/tag87.xml" Type="http://schemas.openxmlformats.org/officeDocument/2006/relationships/tags"/><Relationship Id="rId4" Target="../slideLayouts/slideLayout46.xml" Type="http://schemas.openxmlformats.org/officeDocument/2006/relationships/slideLayout"/><Relationship Id="rId9" Target="../slideLayouts/slideLayout51.xml" Type="http://schemas.openxmlformats.org/officeDocument/2006/relationships/slideLayout"/><Relationship Id="rId14" Target="../slideLayouts/slideLayout56.xml" Type="http://schemas.openxmlformats.org/officeDocument/2006/relationships/slideLayout"/><Relationship Id="rId22" Target="../media/image2.png" Type="http://schemas.openxmlformats.org/officeDocument/2006/relationships/image"/></Relationships>
</file>

<file path=ppt/slideMasters/_rels/slideMaster5.xml.rels><?xml version="1.0" encoding="UTF-8" standalone="yes" ?><Relationships xmlns="http://schemas.openxmlformats.org/package/2006/relationships"><Relationship Id="rId8" Target="../slideLayouts/slideLayout65.xml" Type="http://schemas.openxmlformats.org/officeDocument/2006/relationships/slideLayout"/><Relationship Id="rId13" Target="../slideLayouts/slideLayout70.xml" Type="http://schemas.openxmlformats.org/officeDocument/2006/relationships/slideLayout"/><Relationship Id="rId18" Target="../tags/tag115.xml" Type="http://schemas.openxmlformats.org/officeDocument/2006/relationships/tags"/><Relationship Id="rId3" Target="../slideLayouts/slideLayout60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64.xml" Type="http://schemas.openxmlformats.org/officeDocument/2006/relationships/slideLayout"/><Relationship Id="rId12" Target="../slideLayouts/slideLayout69.xml" Type="http://schemas.openxmlformats.org/officeDocument/2006/relationships/slideLayout"/><Relationship Id="rId17" Target="../tags/tag114.xml" Type="http://schemas.openxmlformats.org/officeDocument/2006/relationships/tags"/><Relationship Id="rId2" Target="../slideLayouts/slideLayout59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58.xml" Type="http://schemas.openxmlformats.org/officeDocument/2006/relationships/slideLayout"/><Relationship Id="rId6" Target="../slideLayouts/slideLayout63.xml" Type="http://schemas.openxmlformats.org/officeDocument/2006/relationships/slideLayout"/><Relationship Id="rId11" Target="../slideLayouts/slideLayout68.xml" Type="http://schemas.openxmlformats.org/officeDocument/2006/relationships/slideLayout"/><Relationship Id="rId5" Target="../slideLayouts/slideLayout62.xml" Type="http://schemas.openxmlformats.org/officeDocument/2006/relationships/slideLayout"/><Relationship Id="rId15" Target="../theme/theme5.xml" Type="http://schemas.openxmlformats.org/officeDocument/2006/relationships/theme"/><Relationship Id="rId10" Target="../slideLayouts/slideLayout67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61.xml" Type="http://schemas.openxmlformats.org/officeDocument/2006/relationships/slideLayout"/><Relationship Id="rId9" Target="../slideLayouts/slideLayout66.xml" Type="http://schemas.openxmlformats.org/officeDocument/2006/relationships/slideLayout"/><Relationship Id="rId14" Target="../slideLayouts/slideLayout71.xml" Type="http://schemas.openxmlformats.org/officeDocument/2006/relationships/slideLayout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mtClean="0" sz="1200">
                <a:solidFill>
                  <a:schemeClr val="tx1"/>
                </a:solidFill>
              </a:rPr>
              <a:pPr lvl="0"/>
              <a:t>‹#›</a:t>
            </a:fld>
            <a:endParaRPr dirty="0" lang="ru-RU" sz="120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004354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7" r:id="rId1"/>
    <p:sldLayoutId id="2147483761" r:id="rId2"/>
    <p:sldLayoutId id="2147483766" r:id="rId3"/>
    <p:sldLayoutId id="2147483696" r:id="rId4"/>
    <p:sldLayoutId id="2147483703" r:id="rId5"/>
    <p:sldLayoutId id="2147483708" r:id="rId6"/>
    <p:sldLayoutId id="2147483701" r:id="rId7"/>
    <p:sldLayoutId id="2147483742" r:id="rId8"/>
    <p:sldLayoutId id="2147483704" r:id="rId9"/>
    <p:sldLayoutId id="2147483707" r:id="rId10"/>
    <p:sldLayoutId id="2147483706" r:id="rId11"/>
    <p:sldLayoutId id="2147483716" r:id="rId12"/>
    <p:sldLayoutId id="2147483709" r:id="rId13"/>
    <p:sldLayoutId id="2147483710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70998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93200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872510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28" r:id="rId15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550464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 ?><Relationships xmlns="http://schemas.openxmlformats.org/package/2006/relationships"><Relationship Id="rId3" Target="../media/image8.jpeg" Type="http://schemas.openxmlformats.org/officeDocument/2006/relationships/image"/><Relationship Id="rId2" Target="../media/image7.png" Type="http://schemas.openxmlformats.org/officeDocument/2006/relationships/image"/><Relationship Id="rId1" Target="../slideLayouts/slideLayout57.xml" Type="http://schemas.openxmlformats.org/officeDocument/2006/relationships/slideLayout"/><Relationship Id="rId6" Target="../media/image11.jpeg" Type="http://schemas.openxmlformats.org/officeDocument/2006/relationships/image"/><Relationship Id="rId5" Target="../media/image10.jpeg" Type="http://schemas.openxmlformats.org/officeDocument/2006/relationships/image"/><Relationship Id="rId4" Target="../media/image9.jpeg" Type="http://schemas.openxmlformats.org/officeDocument/2006/relationships/image"/></Relationships>
</file>

<file path=ppt/slides/_rels/slide10.xml.rels><?xml version="1.0" encoding="UTF-8" standalone="yes" ?><Relationships xmlns="http://schemas.openxmlformats.org/package/2006/relationships"><Relationship Id="rId3" Target="../media/image14.jpeg" Type="http://schemas.openxmlformats.org/officeDocument/2006/relationships/image"/><Relationship Id="rId2" Target="../media/image22.jpeg" Type="http://schemas.openxmlformats.org/officeDocument/2006/relationships/image"/><Relationship Id="rId1" Target="../slideLayouts/slideLayout46.xml" Type="http://schemas.openxmlformats.org/officeDocument/2006/relationships/slideLayout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 ?><Relationships xmlns="http://schemas.openxmlformats.org/package/2006/relationships"><Relationship Id="rId3" Target="../media/image14.jpeg" Type="http://schemas.openxmlformats.org/officeDocument/2006/relationships/image"/><Relationship Id="rId2" Target="../media/image19.jpeg" Type="http://schemas.openxmlformats.org/officeDocument/2006/relationships/image"/><Relationship Id="rId1" Target="../slideLayouts/slideLayout46.xml" Type="http://schemas.openxmlformats.org/officeDocument/2006/relationships/slideLayout"/></Relationships>
</file>

<file path=ppt/slides/_rels/slide8.xml.rels><?xml version="1.0" encoding="UTF-8" standalone="yes" ?><Relationships xmlns="http://schemas.openxmlformats.org/package/2006/relationships"><Relationship Id="rId3" Target="../media/image14.jpeg" Type="http://schemas.openxmlformats.org/officeDocument/2006/relationships/image"/><Relationship Id="rId2" Target="../media/image20.jpeg" Type="http://schemas.openxmlformats.org/officeDocument/2006/relationships/image"/><Relationship Id="rId1" Target="../slideLayouts/slideLayout46.xml" Type="http://schemas.openxmlformats.org/officeDocument/2006/relationships/slideLayout"/></Relationships>
</file>

<file path=ppt/slides/_rels/slide9.xml.rels><?xml version="1.0" encoding="UTF-8" standalone="yes" ?><Relationships xmlns="http://schemas.openxmlformats.org/package/2006/relationships"><Relationship Id="rId3" Target="../media/image14.jpeg" Type="http://schemas.openxmlformats.org/officeDocument/2006/relationships/image"/><Relationship Id="rId2" Target="../media/image21.jpeg" Type="http://schemas.openxmlformats.org/officeDocument/2006/relationships/image"/><Relationship Id="rId1" Target="../slideLayouts/slideLayout46.xml" Type="http://schemas.openxmlformats.org/officeDocument/2006/relationships/slideLayout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ctrTitle"/>
          </p:nvPr>
        </p:nvSpPr>
        <p:spPr>
          <a:xfrm>
            <a:off x="2258485" y="350839"/>
            <a:ext cx="7742767" cy="48577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.Сағынов </a:t>
            </a:r>
            <a:r>
              <a:rPr lang="kk-KZ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ындағы Қарағанды техникалық университеті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агандинский технический университет имени А. </a:t>
            </a:r>
            <a:r>
              <a:rPr lang="ru-RU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гинова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raganda Technical University named after A. </a:t>
            </a:r>
            <a:r>
              <a:rPr lang="en-US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ginov</a:t>
            </a:r>
            <a:endParaRPr lang="ru-RU" alt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Подзаголовок 2"/>
          <p:cNvSpPr>
            <a:spLocks noGrp="1" noChangeArrowheads="1"/>
          </p:cNvSpPr>
          <p:nvPr>
            <p:ph type="subTitle" idx="1"/>
          </p:nvPr>
        </p:nvSpPr>
        <p:spPr>
          <a:xfrm>
            <a:off x="0" y="2133601"/>
            <a:ext cx="12192000" cy="2676525"/>
          </a:xfrm>
        </p:spPr>
        <p:txBody>
          <a:bodyPr/>
          <a:lstStyle/>
          <a:p>
            <a:pPr eaLnBrk="1" hangingPunct="1"/>
            <a:r>
              <a:rPr lang="kk-KZ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новы горного производства</a:t>
            </a:r>
            <a:endParaRPr lang="en-US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(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PhD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)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и.о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. доцента кафедры</a:t>
            </a: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«Разработка месторождений полезных ископаемых»</a:t>
            </a:r>
          </a:p>
          <a:p>
            <a:pPr eaLnBrk="1" hangingPunct="1"/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атұлы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ұхаммедрахым</a:t>
            </a:r>
            <a:endParaRPr lang="ru-RU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2" name="Рисунок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74037"/>
            <a:ext cx="1503602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Заголовок 1"/>
          <p:cNvSpPr txBox="1">
            <a:spLocks/>
          </p:cNvSpPr>
          <p:nvPr/>
        </p:nvSpPr>
        <p:spPr bwMode="auto">
          <a:xfrm>
            <a:off x="2222501" y="5827713"/>
            <a:ext cx="7744884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750"/>
              </a:spcBef>
              <a:buFont typeface="Arial" charset="0"/>
              <a:buChar char="•"/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5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Республика Казахстан</a:t>
            </a:r>
            <a:endParaRPr lang="ru-RU" altLang="ru-RU" sz="18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город Караганда 2023</a:t>
            </a:r>
            <a:endParaRPr lang="ru-RU" altLang="ru-RU" sz="16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55" name="Рисунок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1964748"/>
            <a:ext cx="1511106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582" y="873993"/>
            <a:ext cx="1307250" cy="12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6" name="Picture 2" descr="C:\Users\User\Downloads\phot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3136" y="2153805"/>
            <a:ext cx="1325563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827" name="Picture 3" descr="C:\Users\User\Downloads\photo (1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336" y="74037"/>
            <a:ext cx="1662255" cy="1662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9093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Способы взрывания и средства инициирования промышленных В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8DB904F-F50E-F580-BF3B-B3D28351E84B}"/>
              </a:ext>
            </a:extLst>
          </p:cNvPr>
          <p:cNvSpPr txBox="1"/>
          <p:nvPr/>
        </p:nvSpPr>
        <p:spPr>
          <a:xfrm>
            <a:off x="6567578" y="4470933"/>
            <a:ext cx="4600937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10–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лектродетонатор мгновенного действия ЭД-8-Ж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 - гильза; 2 - заряд детонатора; 3 - двуслойная </a:t>
            </a:r>
            <a:r>
              <a:rPr lang="ru-RU" sz="1200" spc="5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спламенительная</a:t>
            </a: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головка;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 - мостик; 5 - выводные провода; б - пластиковая пробка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1509469"/>
            <a:ext cx="4812491" cy="3754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нцип действия их следующий: электрический ток, поступающий по проводникам от источника тока к мостику накаливания, воспламеняет зажигательный состав, от пламени которого детонирует первичное инициирующее ВВ, возбуждая взрыв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лектродстонатора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ерийно выпускают следующие электродетонаторы: ЭД-8-Э, ЭД-8-Ж (рис. 6.5), ЭД-8-ПМ, ЭД-1-8Т, ТЭД-2, ЭДВ-1, ЭДВ-2 (ВЭД)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Д-8Э -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лсктродстонатор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одостойкий,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прсдохранитсльный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с эластичным креплением мостика накаливания; ЭД-8Ж - водостойкий, непредохранительный, с жёстким креплением мостика накаливания; ЭД-КЗ-35П, ЭД-КЗ-ОП - предохранительный, повышенной мощности для шахт, опасных по газу и пыли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уквы означают: Э, Ж - эластичный и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жесткий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способы крепления мостика накаливания; ПМ - предохранительные мощные; Т - термостойкие.</a:t>
            </a:r>
          </a:p>
        </p:txBody>
      </p:sp>
      <p:pic>
        <p:nvPicPr>
          <p:cNvPr id="8" name="Рисунок 7" descr="Электродетонатор мгновенного действия ЭД-8-Ж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265" y="3154178"/>
            <a:ext cx="4667250" cy="65595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 smtClean="0">
                <a:solidFill>
                  <a:schemeClr val="tx1"/>
                </a:solidFill>
              </a:rPr>
              <a:t>10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341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Основные вопросы теории и практики взрыв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="" xmlns:a16="http://schemas.microsoft.com/office/drawing/2014/main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1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Процесс детонации ВВ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- продукты взрыва; 2 - фронт детонационной волны;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 - фронт расширения продуктов взрыва;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 - не расширившиеся газы (ρ1, T1, Р1);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5 - фронт волны разрежения; 6 - ударная волна.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755415"/>
            <a:ext cx="4812491" cy="526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 взрыве большинства ВВ горючие элементы водорода и углерода окисляются кислородом, входящим в состав самого ВВ, в отличие, например, от процесса горения, при котором окисление происходит за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чет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кислорода воздуха. Это обеспечивает высокую концентрацию энергии в единице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ъема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В. Отличительными признаками ВВ являются высокие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ъемная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концентрация энергии и скорость превращения,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кзотермичность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роцесса, образование газообразных продуктов и звуковой эффект.</a:t>
            </a:r>
          </a:p>
          <a:p>
            <a:pPr lvl="0" algn="just" defTabSz="914400"/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личительными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собенностями ударной волны являются: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) среда движется вслед за фронтом ударной волны;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) скорость распространения выше скорости звука в данной среде;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) на фронте волны происходит скачкообразное увеличение давления, температуры и плотности;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) скорость ударной волны зависит от величины давления (амплитуды) на фронте волны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тонационной волной называется ударная волна, проходящая по ВВ и вызывающая его детонацию. Детонация  является стационарным процессом, т.е. распространяется с постоянной амплитудой давления и скоростью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1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, б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 descr="ris3,1a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95999" y="1657032"/>
            <a:ext cx="2705735" cy="270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8" descr="ris3,1b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086850" y="2048192"/>
            <a:ext cx="2705100" cy="231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Семиугольник 9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1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34362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Основные вопросы теории и практики взрыв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="" xmlns:a16="http://schemas.microsoft.com/office/drawing/2014/main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445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2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Схема размещения заряда в шпуре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-	детонационный шнур, 2- капсюль-детонатор,    3- патрон - боевик, 4- основной заряд из 4  патронов, 5- забойка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1724910"/>
            <a:ext cx="4812491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ыгорание предохранительных ВВ происходит в том случае, если взрыв происходит неполно и нарушается нормальный режим детонации в шпуровом заряде. Получается, чем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дежнее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детонация шпуровых зарядов предохранительных ВВ, тем меньше вероятность их «выгорания».</a:t>
            </a:r>
          </a:p>
          <a:p>
            <a:pPr lvl="0" algn="just" defTabSz="914400"/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дежность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детонации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ногопатронного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редохранительного ВВ (рисунок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2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в основном определяется тремя факторами: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	восприимчивостью патрона-боевика (поз.3) к импульсу капсюля детонатора (поз.2),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	детонационной способностью ВВ в заряде (поз.4),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	способностью передавать детонацию от патрона к патрону. </a:t>
            </a:r>
          </a:p>
        </p:txBody>
      </p:sp>
      <p:pic>
        <p:nvPicPr>
          <p:cNvPr id="10" name="Рисунок 9" descr="15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53425" y="2114549"/>
            <a:ext cx="1333500" cy="200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04705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Основные вопросы теории и практики взрыв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="" xmlns:a16="http://schemas.microsoft.com/office/drawing/2014/main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3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Буровзрывных работ на открытых и подземных горных разработках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263519"/>
            <a:ext cx="5398339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ТОНАЦИЯ взрывчатых веществ — процесс химического превращения взрывчатых веществ, сопровождающийся освобождением энергии и распространяющийся по веществу в виде волны со скоростью, превышающей скорость звука в данном веществе. Химическая реакция вводится интенсивной ударной волной, образующей передний фронт волны детонации. Резкое повышение давления и температуры за фронтом ударной волны приводит к очень быстрому химическому превращению вещества в тонком слое, непосредственно прилегающем к фронту волны (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.9.3).</a:t>
            </a:r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158" y="1401445"/>
            <a:ext cx="4883150" cy="325501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4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5968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Основные вопросы теории и практики взрыв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="" xmlns:a16="http://schemas.microsoft.com/office/drawing/2014/main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4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Распределение давления в волне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1294023"/>
            <a:ext cx="5398339" cy="41857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прошлые годы в стране были приняты меры по выявлению возможности и научному обоснованию технологий использования энергии ядерного взрыва - как одного из видов высвобождения энергии для решения крупных горно-технологических задач. При этом основные направления такой деятельности были направлены на решение следующих проблем: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 определение феноменологии ядерного взрыва в условиях горной среды;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 определение эффектов взаимодействия взрыва со средой, его особенности и эффективности по сравнению с химическими взрывчатыми веществами;</a:t>
            </a:r>
          </a:p>
          <a:p>
            <a:pPr lvl="0" algn="just" defTabSz="914400"/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ределение технических и технологических направлений и схем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спользования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ядерных взрывов в горном и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рно-строительном производстве;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 исследование сейсмических, механических, радиационных последствий ядерных взрывов на вмещающую среду;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 разработка мер и средств обеспечения сейсмической и радиационной безопасности с обоснованием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дежности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локализации и изоляции вредных последствий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зрыва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4)</a:t>
            </a:r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 descr=" 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2060575"/>
            <a:ext cx="3657600" cy="23495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5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87292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Способы взрывания и средства инициирования промышленных В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5–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хема детонации бризантного взрывчатого вещества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1 – капсюль (инициирующее взрывчатое вещество); </a:t>
            </a:r>
            <a:endParaRPr lang="ru-RU" sz="1200" spc="50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865"/>
              </a:lnSpc>
            </a:pPr>
            <a:r>
              <a:rPr lang="ru-RU" sz="1200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детонатор;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 – основной заряд бризантного взрывчатого вещества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1617190"/>
            <a:ext cx="4812491" cy="3539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гневое взрывание, способ взрывания посредством огнепроводного шнура и капсюля-детонатора; применяется для последовательного инициирования зарядов взрывчатых веществ (дробление фундаментов при реконструкции цехов, разделка валунов и т.п.). Для О. в. из капсюля-детонатора и отрезка огнепроводного шнура (время горения которого обеспечивает отход взрывников в укрытие) изготавливают зажигательную трубку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5),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жигаемую только тлеющим фитилём, отрезком огнепроводного шнура или зажигательным патроном (одиночный заряд можно зажигать спичкой). Достоинства О. в.: простота выполнения и небольшая стоимость средств взрывания. Недостатки: невозможность взрывания одновременно большого количества зарядов, проверки приборами качества подготовки зарядов к взрыву и низкая производительность работ.</a:t>
            </a:r>
          </a:p>
        </p:txBody>
      </p:sp>
      <p:pic>
        <p:nvPicPr>
          <p:cNvPr id="8" name="Рисунок 7" descr="https://www.booksite.ru/fulltext/1/001/010/001/250889944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4492" y="2657475"/>
            <a:ext cx="4324350" cy="175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6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88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Способы взрывания и средства инициирования промышленных В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445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6–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псюли-детонаторы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 — гремуче-ртутно-</a:t>
            </a:r>
            <a:r>
              <a:rPr lang="ru-RU" sz="1200" spc="5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зидо</a:t>
            </a: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200" spc="5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триловый</a:t>
            </a: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б — гремуче-ртутно-</a:t>
            </a:r>
            <a:r>
              <a:rPr lang="ru-RU" sz="1200" spc="5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триловый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1401746"/>
            <a:ext cx="4812491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псюль-детонатор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6)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едназначен для возбуждения детонации ВВ при взрывных работах огневым способом. Он представляет собой открытую с одного конца медную, алюминиевую или бумажную гильзу 6, в которой запрессован заряд вторичного инициирующего ВВ 2. Заряд первичного инициирующего ВВ (гремучая ртуть 3 и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нерес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ли азид свинца 5) в капсюле-детонаторе запрессован в чашечку 4 из металла (меди, алюминия), имеющую в середине отверстие диаметром 2—2,5 мм, для усиления инициирующего действия донышко капсюля-детонатора делают в виде кумулятивного углубления 1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Широко применяют в горной промышленности капсюли-детонаторы в алюминиевой гильзе КД8-А, в бумажной гильзе КД8-Б и в металлической гильзе (стальной или биметаллической) КД8-С. Названия их зависят от вида инициирующих ВВ, которыми снаряжены капсюли-детонаторы;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зидо-тетриловый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гремуче-ртутно-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трило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вый,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зидо-тэновый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т. д.</a:t>
            </a:r>
          </a:p>
        </p:txBody>
      </p:sp>
      <p:pic>
        <p:nvPicPr>
          <p:cNvPr id="7" name="Рисунок 6" descr="Капсюли-детонаторы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0875" y="2520129"/>
            <a:ext cx="3181350" cy="183279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7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94267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Способы взрывания и средства инициирования промышленных В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445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7–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гнепроводный шнур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— направляющая нить; 2 — порох; 3 — льняные </a:t>
            </a:r>
            <a:r>
              <a:rPr lang="ru-RU" sz="1200" spc="5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летки</a:t>
            </a: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 — наружная оболочка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155799"/>
            <a:ext cx="4812491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гнепроводный шнур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7)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лужит для подвода пламени к первичному заряду капсюля-детонатора. Имеет сердцевину из мелкозернистого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ерного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дымного) пороха с направляющей нитью и две-три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летки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з хлопчатобумажных ниток, пропитанных водо- или влагонепроницаемой массой. Диаметр ОШ — 5—6 мм. Отрезок шнура длиной 60 см имеет разброс во времени горения от 60 до 70 с, скорость горения — 1 см/с. Шнуры выпускают отрезками по 10 м (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вернутыми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 круги) с несколькими типами оболочек: асфальтированный ОШ-А, дважды асфальтированный ОШ-ДА и пластиковый ОШ-П.</a:t>
            </a:r>
          </a:p>
        </p:txBody>
      </p:sp>
      <p:pic>
        <p:nvPicPr>
          <p:cNvPr id="8" name="Рисунок 7" descr="Огнепроводный шнур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4775" y="1452562"/>
            <a:ext cx="2838450" cy="32670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8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49992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Способы взрывания и средства инициирования промышленных В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561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8–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хемы соединения </a:t>
            </a:r>
            <a:r>
              <a:rPr lang="ru-RU" sz="1200" b="1" spc="5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лектродепюнаторов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lnSpc>
                <a:spcPts val="865"/>
              </a:lnSpc>
            </a:pP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 - последовательное; б - параллельно-пучковое; в - параллельно-ступенчатое; г - параллельно-последовательное; д - последовательно-параллельное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1509469"/>
            <a:ext cx="4812491" cy="3754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 работах с применением электрического взрывания группы ЭД соединяют между собой последовательно, параллельно или по смешанным схемам (последовательно-параллельно)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следовательное соединение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8,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) состоит в том, что концы детонаторных проводников заряда ВВ соединяют между собой, а два крайних конца присоединяют к магистрали, идущей к источнику тока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араллельное соединение (см. рис,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8,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6, в) состоит в том, что каждый концевой провод ЭД присоединяют к разным магистральным проводам. Различают параллельно-ступенчатое соединение (см. рис. 6.4, в), когда электродетонаторы постепенно присоединяют к двум параллельным проводам по ступням, и параллельно-пучковое соединение (см. 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8,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), когда электродетонаторы в виде пучков присоединяют к металлическим проводам.</a:t>
            </a:r>
          </a:p>
        </p:txBody>
      </p:sp>
      <p:pic>
        <p:nvPicPr>
          <p:cNvPr id="7" name="Рисунок 6" descr="https://studme.org/htm/img/32/2354/180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1325" y="1509469"/>
            <a:ext cx="4781550" cy="312674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9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78172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 16x9 (small size) (002).pptx [Read-Only]" id="{3CC24C2D-7AE9-468D-8FDE-4193F665763E}" vid="{E3C30269-D4C5-437F-840A-1A972437E116}"/>
    </a:ext>
  </a:extLst>
</a:theme>
</file>

<file path=ppt/theme/theme2.xml><?xml version="1.0" encoding="utf-8"?>
<a:theme xmlns:a="http://schemas.openxmlformats.org/drawingml/2006/main" name="1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 16x9 (small size) (002).pptx [Read-Only]" id="{3CC24C2D-7AE9-468D-8FDE-4193F665763E}" vid="{E3C30269-D4C5-437F-840A-1A972437E116}"/>
    </a:ext>
  </a:extLst>
</a:theme>
</file>

<file path=ppt/theme/theme3.xml><?xml version="1.0" encoding="utf-8"?>
<a:theme xmlns:a="http://schemas.openxmlformats.org/drawingml/2006/main" name="2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 16x9 (small size) (002).pptx [Read-Only]" id="{3CC24C2D-7AE9-468D-8FDE-4193F665763E}" vid="{E3C30269-D4C5-437F-840A-1A972437E116}"/>
    </a:ext>
  </a:extLst>
</a:theme>
</file>

<file path=ppt/theme/theme4.xml><?xml version="1.0" encoding="utf-8"?>
<a:theme xmlns:a="http://schemas.openxmlformats.org/drawingml/2006/main" name="3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 16x9 (small size) (002).pptx [Read-Only]" id="{3CC24C2D-7AE9-468D-8FDE-4193F665763E}" vid="{E3C30269-D4C5-437F-840A-1A972437E116}"/>
    </a:ext>
  </a:extLst>
</a:theme>
</file>

<file path=ppt/theme/theme5.xml><?xml version="1.0" encoding="utf-8"?>
<a:theme xmlns:a="http://schemas.openxmlformats.org/drawingml/2006/main" name="4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 16x9 (small size) (002).pptx [Read-Only]" id="{3CC24C2D-7AE9-468D-8FDE-4193F665763E}" vid="{E3C30269-D4C5-437F-840A-1A972437E116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535</TotalTime>
  <Words>1310</Words>
  <Application>Microsoft Office PowerPoint</Application>
  <PresentationFormat>Произвольный</PresentationFormat>
  <Paragraphs>80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ERG</vt:lpstr>
      <vt:lpstr>1_ERG</vt:lpstr>
      <vt:lpstr>2_ERG</vt:lpstr>
      <vt:lpstr>3_ERG</vt:lpstr>
      <vt:lpstr>4_ERG</vt:lpstr>
      <vt:lpstr>Слайд think-cell</vt:lpstr>
      <vt:lpstr> Ә.Сағынов атындағы Қарағанды техникалық университеті Карагандинский технический университет имени А. Сагинова Karaganda Technical University named after A. Saginov</vt:lpstr>
      <vt:lpstr>Основные вопросы теории и практики взрыва</vt:lpstr>
      <vt:lpstr>Основные вопросы теории и практики взрыва</vt:lpstr>
      <vt:lpstr>Основные вопросы теории и практики взрыва</vt:lpstr>
      <vt:lpstr>Основные вопросы теории и практики взрыва</vt:lpstr>
      <vt:lpstr>Способы взрывания и средства инициирования промышленных ВВ</vt:lpstr>
      <vt:lpstr>Способы взрывания и средства инициирования промышленных ВВ</vt:lpstr>
      <vt:lpstr>Способы взрывания и средства инициирования промышленных ВВ</vt:lpstr>
      <vt:lpstr>Способы взрывания и средства инициирования промышленных ВВ</vt:lpstr>
      <vt:lpstr>Способы взрывания и средства инициирования промышленных ВВ</vt:lpstr>
    </vt:vector>
  </TitlesOfParts>
  <Company>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 Donchenko</dc:creator>
  <cp:lastModifiedBy>User</cp:lastModifiedBy>
  <cp:revision>286</cp:revision>
  <dcterms:created xsi:type="dcterms:W3CDTF">2021-02-16T13:18:42Z</dcterms:created>
  <dcterms:modified xsi:type="dcterms:W3CDTF">2023-11-02T06:5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779356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10.0.0</vt:lpwstr>
  </property>
</Properties>
</file>